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7"/>
  </p:notesMasterIdLst>
  <p:sldIdLst>
    <p:sldId id="373" r:id="rId3"/>
    <p:sldId id="375" r:id="rId4"/>
    <p:sldId id="374" r:id="rId5"/>
    <p:sldId id="37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sh Drake" initials="JD" lastIdx="6" clrIdx="0">
    <p:extLst>
      <p:ext uri="{19B8F6BF-5375-455C-9EA6-DF929625EA0E}">
        <p15:presenceInfo xmlns:p15="http://schemas.microsoft.com/office/powerpoint/2012/main" userId="b3a611ce692fab4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96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5DFFF1-2B98-42DB-B61B-AC38A07BA553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267C2C-5327-46E8-BF28-55B53978B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269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 noChangeArrowheads="1"/>
          </p:cNvSpPr>
          <p:nvPr>
            <p:ph type="sldNum" sz="quarter"/>
          </p:nvPr>
        </p:nvSpPr>
        <p:spPr/>
        <p:txBody>
          <a:bodyPr/>
          <a:lstStyle>
            <a:lvl1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303122" indent="-209375" defTabSz="41874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721872" indent="-209375" defTabSz="41874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140621" indent="-209375" defTabSz="41874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559371" indent="-209375" defTabSz="41874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18749" algn="l"/>
                <a:tab pos="837499" algn="l"/>
                <a:tab pos="1256248" algn="l"/>
                <a:tab pos="1674998" algn="l"/>
                <a:tab pos="2093747" algn="l"/>
                <a:tab pos="2512497" algn="l"/>
                <a:tab pos="2931246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>
              <a:defRPr/>
            </a:pPr>
            <a:fld id="{FD2EB0CD-16F3-4E96-9171-A942195A44B6}" type="slidenum">
              <a:rPr lang="en-US" altLang="en-US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defRPr/>
              </a:pPr>
              <a:t>1</a:t>
            </a:fld>
            <a:endParaRPr lang="en-US" altLang="en-US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337" name="Text Box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9575" y="706438"/>
            <a:ext cx="6203950" cy="3490912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14338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703263" y="4421188"/>
            <a:ext cx="5618162" cy="4187825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altLang="en-US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426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>
              <a:buClrTx/>
              <a:buFontTx/>
              <a:buNone/>
            </a:pPr>
            <a:fld id="{F47C222E-11F5-4E46-BF0D-5195ADB0B7C9}" type="slidenum">
              <a:rPr lang="en-US" altLang="en-US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buClrTx/>
                <a:buFontTx/>
                <a:buNone/>
              </a:pPr>
              <a:t>2</a:t>
            </a:fld>
            <a:endParaRPr lang="en-US" altLang="en-US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4398963" y="9555163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eaLnBrk="1">
              <a:buClrTx/>
              <a:buFontTx/>
              <a:buNone/>
            </a:pPr>
            <a:fld id="{BDC7E661-E76B-4B8A-A724-8A1F346EF80C}" type="slidenum">
              <a:rPr lang="en-US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ahoma" panose="020B0604030504040204" pitchFamily="34" charset="0"/>
              </a:rPr>
              <a:pPr algn="r" eaLnBrk="1">
                <a:buClrTx/>
                <a:buFontTx/>
                <a:buNone/>
              </a:pPr>
              <a:t>2</a:t>
            </a:fld>
            <a:endParaRPr lang="en-US" altLang="en-US" sz="1400">
              <a:solidFill>
                <a:srgbClr val="000000"/>
              </a:solidFill>
              <a:latin typeface="Times New Roman" panose="02020603050405020304" pitchFamily="18" charset="0"/>
              <a:cs typeface="Tahoma" panose="020B0604030504040204" pitchFamily="34" charset="0"/>
            </a:endParaRPr>
          </a:p>
        </p:txBody>
      </p:sp>
      <p:sp>
        <p:nvSpPr>
          <p:cNvPr id="14340" name="Rectangle 2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3400" y="763588"/>
            <a:ext cx="6705600" cy="37719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2044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54FD86BB-DC6C-496F-8A55-996C8F7D721E}" type="slidenum">
              <a:rPr lang="en-US" altLang="en-US"/>
              <a:pPr/>
              <a:t>3</a:t>
            </a:fld>
            <a:endParaRPr lang="en-US" altLang="en-US"/>
          </a:p>
        </p:txBody>
      </p:sp>
      <p:sp>
        <p:nvSpPr>
          <p:cNvPr id="14337" name="Text Box 1"/>
          <p:cNvSpPr txBox="1">
            <a:spLocks noChangeArrowheads="1"/>
          </p:cNvSpPr>
          <p:nvPr/>
        </p:nvSpPr>
        <p:spPr bwMode="auto">
          <a:xfrm>
            <a:off x="4398963" y="9555163"/>
            <a:ext cx="3367087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eaLnBrk="1">
              <a:buClrTx/>
              <a:buFontTx/>
              <a:buNone/>
            </a:pPr>
            <a:fld id="{6E6ED44B-02E4-4D80-BC70-4AB2F9EEDA14}" type="slidenum">
              <a:rPr lang="en-US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ahoma" panose="020B0604030504040204" pitchFamily="34" charset="0"/>
              </a:rPr>
              <a:pPr algn="r" eaLnBrk="1">
                <a:buClrTx/>
                <a:buFontTx/>
                <a:buNone/>
              </a:pPr>
              <a:t>3</a:t>
            </a:fld>
            <a:endParaRPr lang="en-US" altLang="en-US" sz="1400">
              <a:solidFill>
                <a:srgbClr val="000000"/>
              </a:solidFill>
              <a:latin typeface="Times New Roman" panose="02020603050405020304" pitchFamily="18" charset="0"/>
              <a:cs typeface="Tahoma" panose="020B0604030504040204" pitchFamily="34" charset="0"/>
            </a:endParaRPr>
          </a:p>
        </p:txBody>
      </p:sp>
      <p:sp>
        <p:nvSpPr>
          <p:cNvPr id="14338" name="Text Box 2"/>
          <p:cNvSpPr txBox="1">
            <a:spLocks noChangeArrowheads="1"/>
          </p:cNvSpPr>
          <p:nvPr/>
        </p:nvSpPr>
        <p:spPr bwMode="auto">
          <a:xfrm>
            <a:off x="4398963" y="9555163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eaLnBrk="1">
              <a:buClrTx/>
              <a:buFontTx/>
              <a:buNone/>
            </a:pPr>
            <a:fld id="{72C1E610-17A7-4645-9A0C-11073559D3ED}" type="slidenum">
              <a:rPr lang="en-US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ahoma" panose="020B0604030504040204" pitchFamily="34" charset="0"/>
              </a:rPr>
              <a:pPr algn="r" eaLnBrk="1">
                <a:buClrTx/>
                <a:buFontTx/>
                <a:buNone/>
              </a:pPr>
              <a:t>3</a:t>
            </a:fld>
            <a:endParaRPr lang="en-US" altLang="en-US" sz="1400">
              <a:solidFill>
                <a:srgbClr val="000000"/>
              </a:solidFill>
              <a:latin typeface="Times New Roman" panose="02020603050405020304" pitchFamily="18" charset="0"/>
              <a:cs typeface="Tahoma" panose="020B0604030504040204" pitchFamily="34" charset="0"/>
            </a:endParaRPr>
          </a:p>
        </p:txBody>
      </p:sp>
      <p:sp>
        <p:nvSpPr>
          <p:cNvPr id="14339" name="Rectangle 3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40" name="Text Box 4"/>
          <p:cNvSpPr txBox="1">
            <a:spLocks noChangeArrowheads="1"/>
          </p:cNvSpPr>
          <p:nvPr/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467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744649"/>
            <a:ext cx="5520267" cy="113006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914727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60941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Month DD, YYYY</a:t>
            </a:r>
          </a:p>
        </p:txBody>
      </p:sp>
    </p:spTree>
    <p:extLst>
      <p:ext uri="{BB962C8B-B14F-4D97-AF65-F5344CB8AC3E}">
        <p14:creationId xmlns:p14="http://schemas.microsoft.com/office/powerpoint/2010/main" val="183510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448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448"/>
              </a:spcBef>
              <a:spcAft>
                <a:spcPts val="0"/>
              </a:spcAft>
              <a:defRPr sz="1733" baseline="0"/>
            </a:lvl2pPr>
            <a:lvl3pPr>
              <a:spcBef>
                <a:spcPts val="44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448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line - 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99250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13913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99" y="272761"/>
            <a:ext cx="10970559" cy="114408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610098" y="6247534"/>
            <a:ext cx="2838824" cy="47192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B2798A-B346-4067-B9C6-267B5AB939E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33602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AD2C2A-323D-440F-9F7A-FC24FB81A6F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57087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>
                <a:solidFill>
                  <a:srgbClr val="FFFFFF"/>
                </a:solidFill>
              </a:rPr>
              <a:t>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10899243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819900" y="6505683"/>
            <a:ext cx="4773085" cy="254625"/>
          </a:xfrm>
        </p:spPr>
        <p:txBody>
          <a:bodyPr/>
          <a:lstStyle>
            <a:lvl1pPr>
              <a:defRPr sz="800"/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CONFIDENTIAL                                                            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6195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279497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6515101" y="6536883"/>
            <a:ext cx="4839760" cy="207463"/>
          </a:xfrm>
        </p:spPr>
        <p:txBody>
          <a:bodyPr/>
          <a:lstStyle>
            <a:lvl1pPr>
              <a:defRPr sz="8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CONFIDENTIAL                                                           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33218997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6515101" y="6536883"/>
            <a:ext cx="4839760" cy="207463"/>
          </a:xfrm>
        </p:spPr>
        <p:txBody>
          <a:bodyPr/>
          <a:lstStyle>
            <a:lvl1pPr>
              <a:defRPr sz="8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CONFIDENTIAL                                                           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35343568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6515101" y="6536883"/>
            <a:ext cx="4839760" cy="207463"/>
          </a:xfrm>
        </p:spPr>
        <p:txBody>
          <a:bodyPr/>
          <a:lstStyle>
            <a:lvl1pPr>
              <a:defRPr sz="8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CONFIDENTIAL                                                           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1018305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Month DD, YYYY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325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515101" y="6536883"/>
            <a:ext cx="4839760" cy="207463"/>
          </a:xfrm>
        </p:spPr>
        <p:txBody>
          <a:bodyPr/>
          <a:lstStyle>
            <a:lvl1pPr>
              <a:defRPr sz="8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CONFIDENTIAL                                                           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305453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6515101" y="6536883"/>
            <a:ext cx="4839760" cy="207463"/>
          </a:xfrm>
        </p:spPr>
        <p:txBody>
          <a:bodyPr/>
          <a:lstStyle>
            <a:lvl1pPr>
              <a:defRPr sz="8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CONFIDENTIAL                                                           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13078181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6515101" y="6536883"/>
            <a:ext cx="4839760" cy="207463"/>
          </a:xfrm>
        </p:spPr>
        <p:txBody>
          <a:bodyPr/>
          <a:lstStyle>
            <a:lvl1pPr>
              <a:defRPr sz="8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CONFIDENTIAL                                                           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3641345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217126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1423729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800"/>
              </a:spcBef>
              <a:buNone/>
              <a:defRPr lang="en-US" sz="4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45595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448"/>
              </a:spcBef>
              <a:defRPr sz="1867" b="0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2014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338026"/>
            <a:ext cx="11106151" cy="862195"/>
          </a:xfrm>
        </p:spPr>
        <p:txBody>
          <a:bodyPr/>
          <a:lstStyle/>
          <a:p>
            <a:r>
              <a:rPr lang="en-US" dirty="0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3679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000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2014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448"/>
              </a:spcBef>
              <a:defRPr sz="1733"/>
            </a:lvl1pPr>
            <a:lvl2pPr>
              <a:spcBef>
                <a:spcPts val="448"/>
              </a:spcBef>
              <a:defRPr sz="1733"/>
            </a:lvl2pPr>
            <a:lvl3pPr>
              <a:spcBef>
                <a:spcPts val="448"/>
              </a:spcBef>
              <a:defRPr sz="1600"/>
            </a:lvl3pPr>
            <a:lvl4pPr>
              <a:spcBef>
                <a:spcPts val="448"/>
              </a:spcBef>
              <a:defRPr sz="1467"/>
            </a:lvl4pPr>
            <a:lvl5pPr>
              <a:spcBef>
                <a:spcPts val="448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29573"/>
            <a:ext cx="11106151" cy="862195"/>
          </a:xfrm>
        </p:spPr>
        <p:txBody>
          <a:bodyPr/>
          <a:lstStyle/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91602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2014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2944"/>
            <a:ext cx="6728883" cy="55354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29951"/>
            <a:ext cx="4226984" cy="862195"/>
          </a:xfrm>
          <a:prstGeom prst="rect">
            <a:avLst/>
          </a:prstGeom>
        </p:spPr>
        <p:txBody>
          <a:bodyPr anchor="t"/>
          <a:lstStyle/>
          <a:p>
            <a:r>
              <a:rPr lang="en-US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7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2014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29573"/>
            <a:ext cx="11106151" cy="509240"/>
          </a:xfrm>
        </p:spPr>
        <p:txBody>
          <a:bodyPr/>
          <a:lstStyle/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523215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448"/>
              </a:spcBef>
              <a:spcAft>
                <a:spcPts val="0"/>
              </a:spcAft>
              <a:defRPr sz="1867" b="0"/>
            </a:lvl1pPr>
            <a:lvl2pPr>
              <a:spcBef>
                <a:spcPts val="448"/>
              </a:spcBef>
              <a:spcAft>
                <a:spcPts val="0"/>
              </a:spcAft>
              <a:defRPr sz="1733" baseline="0"/>
            </a:lvl2pPr>
            <a:lvl3pPr>
              <a:spcBef>
                <a:spcPts val="448"/>
              </a:spcBef>
              <a:spcAft>
                <a:spcPts val="0"/>
              </a:spcAft>
              <a:buClr>
                <a:srgbClr val="3086AB"/>
              </a:buClr>
              <a:defRPr/>
            </a:lvl3pPr>
            <a:lvl4pPr marL="687899" indent="-228594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448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2014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29573"/>
            <a:ext cx="11106151" cy="862195"/>
          </a:xfrm>
        </p:spPr>
        <p:txBody>
          <a:bodyPr/>
          <a:lstStyle/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57497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448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448"/>
              </a:spcBef>
              <a:spcAft>
                <a:spcPts val="0"/>
              </a:spcAft>
              <a:defRPr sz="1733" baseline="0"/>
            </a:lvl2pPr>
            <a:lvl3pPr>
              <a:spcBef>
                <a:spcPts val="44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448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2014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line - 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194483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61136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© 2014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29573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28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4" r:id="rId12"/>
    <p:sldLayoutId id="214748368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2133" kern="1200" cap="none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77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1489" t="7125" r="9265" b="3818"/>
          <a:stretch/>
        </p:blipFill>
        <p:spPr>
          <a:xfrm>
            <a:off x="4504266" y="203199"/>
            <a:ext cx="7628257" cy="6062133"/>
          </a:xfrm>
          <a:prstGeom prst="rect">
            <a:avLst/>
          </a:prstGeom>
        </p:spPr>
      </p:pic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419993" y="289299"/>
            <a:ext cx="10203657" cy="997960"/>
          </a:xfrm>
        </p:spPr>
        <p:txBody>
          <a:bodyPr vert="horz" lIns="0" tIns="21821" rIns="0" bIns="0" rtlCol="0" anchor="t" anchorCtr="0">
            <a:noAutofit/>
          </a:bodyPr>
          <a:lstStyle/>
          <a:p>
            <a:pPr>
              <a:tabLst>
                <a:tab pos="311719" algn="l"/>
                <a:tab pos="623438" algn="l"/>
                <a:tab pos="935157" algn="l"/>
                <a:tab pos="1246876" algn="l"/>
                <a:tab pos="1558595" algn="l"/>
                <a:tab pos="1870314" algn="l"/>
                <a:tab pos="2182033" algn="l"/>
                <a:tab pos="2493752" algn="l"/>
                <a:tab pos="2805471" algn="l"/>
                <a:tab pos="3117190" algn="l"/>
                <a:tab pos="3428909" algn="l"/>
                <a:tab pos="3740628" algn="l"/>
                <a:tab pos="4052346" algn="l"/>
                <a:tab pos="4364065" algn="l"/>
                <a:tab pos="4675784" algn="l"/>
                <a:tab pos="4987503" algn="l"/>
              </a:tabLst>
              <a:defRPr/>
            </a:pPr>
            <a:r>
              <a:rPr lang="en-US" altLang="en-US" sz="2727" dirty="0"/>
              <a:t>Tanzania: 2 x 2 Segmentation </a:t>
            </a:r>
            <a:br>
              <a:rPr lang="en-US" altLang="en-US" sz="2727" dirty="0"/>
            </a:br>
            <a:r>
              <a:rPr lang="en-US" altLang="en-US" sz="2727" dirty="0"/>
              <a:t>(Ag. Potential – Distance to market)</a:t>
            </a:r>
          </a:p>
        </p:txBody>
      </p:sp>
      <p:sp>
        <p:nvSpPr>
          <p:cNvPr id="14341" name="TextBox 8"/>
          <p:cNvSpPr txBox="1">
            <a:spLocks noChangeArrowheads="1"/>
          </p:cNvSpPr>
          <p:nvPr/>
        </p:nvSpPr>
        <p:spPr bwMode="auto">
          <a:xfrm>
            <a:off x="2681747" y="6487058"/>
            <a:ext cx="8776762" cy="248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1091" dirty="0"/>
              <a:t>Sources: Major Settlements, Water – Natural Earth, 2016; Cropland Mask – </a:t>
            </a:r>
            <a:r>
              <a:rPr lang="en-US" altLang="en-US" sz="1091" dirty="0" err="1"/>
              <a:t>AfSIS</a:t>
            </a:r>
            <a:r>
              <a:rPr lang="en-US" altLang="en-US" sz="1091" dirty="0"/>
              <a:t>, 2015; Land Suitability – FAO/IIASA; Travel Time – </a:t>
            </a:r>
            <a:r>
              <a:rPr lang="en-US" altLang="en-US" sz="1091" dirty="0" err="1"/>
              <a:t>HarvestChoice</a:t>
            </a:r>
            <a:r>
              <a:rPr lang="en-US" altLang="en-US" sz="1091" dirty="0"/>
              <a:t> 2015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458993"/>
              </p:ext>
            </p:extLst>
          </p:nvPr>
        </p:nvGraphicFramePr>
        <p:xfrm>
          <a:off x="332864" y="1624185"/>
          <a:ext cx="5458339" cy="10820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81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19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90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90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90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90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90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28184">
                <a:tc>
                  <a:txBody>
                    <a:bodyPr/>
                    <a:lstStyle/>
                    <a:p>
                      <a:r>
                        <a:rPr lang="en-US" sz="1400" dirty="0"/>
                        <a:t>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Un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Lo-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Lo-H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Hi-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Hi-H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18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100" b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anzania)</a:t>
                      </a:r>
                      <a:endParaRPr lang="en-US" sz="1100" b="0" i="0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  <a:endParaRPr lang="en-US" sz="1100" b="0" i="1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3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5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01</a:t>
                      </a:r>
                    </a:p>
                  </a:txBody>
                  <a:tcPr marL="45720" marR="4572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H </a:t>
                      </a:r>
                      <a:r>
                        <a:rPr lang="en-US" sz="1100" b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anzania)</a:t>
                      </a:r>
                      <a:endParaRPr lang="en-US" sz="1100" b="0" i="0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  <a:endParaRPr lang="en-US" sz="1100" b="0" i="1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96,146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6,976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56,602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19,259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88,982</a:t>
                      </a:r>
                    </a:p>
                  </a:txBody>
                  <a:tcPr marL="45720" marR="4572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H</a:t>
                      </a:r>
                      <a:r>
                        <a:rPr lang="en-US" sz="1100" b="0" i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Tanzania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32864" y="2878524"/>
            <a:ext cx="4722829" cy="2262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1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Note: Sample size (N) and extrapolated # HH are only SHF (&lt; 4 ha)</a:t>
            </a:r>
          </a:p>
        </p:txBody>
      </p:sp>
    </p:spTree>
    <p:extLst>
      <p:ext uri="{BB962C8B-B14F-4D97-AF65-F5344CB8AC3E}">
        <p14:creationId xmlns:p14="http://schemas.microsoft.com/office/powerpoint/2010/main" val="408067266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3436" t="9401" b="5920"/>
          <a:stretch/>
        </p:blipFill>
        <p:spPr>
          <a:xfrm>
            <a:off x="3718559" y="1079863"/>
            <a:ext cx="8397971" cy="5207726"/>
          </a:xfrm>
          <a:prstGeom prst="rect">
            <a:avLst/>
          </a:prstGeom>
        </p:spPr>
      </p:pic>
      <p:sp>
        <p:nvSpPr>
          <p:cNvPr id="13315" name="Text Box 2"/>
          <p:cNvSpPr txBox="1">
            <a:spLocks noChangeArrowheads="1"/>
          </p:cNvSpPr>
          <p:nvPr/>
        </p:nvSpPr>
        <p:spPr bwMode="auto">
          <a:xfrm>
            <a:off x="427518" y="0"/>
            <a:ext cx="9757881" cy="997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24300" rIns="0" bIns="0" anchor="ctr"/>
          <a:lstStyle>
            <a:lvl1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>
              <a:buClrTx/>
            </a:pPr>
            <a:r>
              <a:rPr lang="en-US" altLang="en-US" sz="2727" dirty="0">
                <a:solidFill>
                  <a:srgbClr val="000000"/>
                </a:solidFill>
              </a:rPr>
              <a:t>2x2 Segmentation (Ag. Potential – Distance to market): Nigeria</a:t>
            </a:r>
          </a:p>
        </p:txBody>
      </p:sp>
      <p:sp>
        <p:nvSpPr>
          <p:cNvPr id="13316" name="Text Box 3"/>
          <p:cNvSpPr txBox="1">
            <a:spLocks noChangeArrowheads="1"/>
          </p:cNvSpPr>
          <p:nvPr/>
        </p:nvSpPr>
        <p:spPr bwMode="auto">
          <a:xfrm>
            <a:off x="983890" y="6546273"/>
            <a:ext cx="10371925" cy="210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1364" tIns="31909" rIns="61364" bIns="31909">
            <a:spAutoFit/>
          </a:bodyPr>
          <a:lstStyle>
            <a:lvl1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>
              <a:buClrTx/>
              <a:buFontTx/>
              <a:buNone/>
            </a:pPr>
            <a:r>
              <a:rPr lang="en-US" altLang="en-US" sz="1023">
                <a:solidFill>
                  <a:srgbClr val="000000"/>
                </a:solidFill>
              </a:rPr>
              <a:t>Sources: Major Settlements – Natural Earth, 2016; Water Bodies – Digital Chart of the World, 2000; Land Suitability – FAO &amp; IIASA, 2007; Travel Time – HarvestChoice ,2015 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41252" y="1717319"/>
          <a:ext cx="5636136" cy="111224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77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10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8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4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11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29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16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28184">
                <a:tc>
                  <a:txBody>
                    <a:bodyPr/>
                    <a:lstStyle/>
                    <a:p>
                      <a:r>
                        <a:rPr lang="en-US" sz="1400" dirty="0"/>
                        <a:t>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Un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Lo-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Lo-H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Hi-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Hi-H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2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100" b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igeria)</a:t>
                      </a:r>
                      <a:endParaRPr lang="en-US" sz="1100" b="0" i="0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  <a:endParaRPr lang="en-US" sz="1100" b="0" i="1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1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59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63</a:t>
                      </a:r>
                    </a:p>
                  </a:txBody>
                  <a:tcPr marL="45720" marR="4572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H </a:t>
                      </a:r>
                      <a:r>
                        <a:rPr lang="en-US" sz="1100" b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igeria)</a:t>
                      </a:r>
                      <a:endParaRPr lang="en-US" sz="1100" b="0" i="0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  <a:endParaRPr lang="en-US" sz="1100" b="0" i="1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7,667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35,820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91,219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83,987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918,693</a:t>
                      </a:r>
                    </a:p>
                  </a:txBody>
                  <a:tcPr marL="45720" marR="4572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H</a:t>
                      </a:r>
                      <a:r>
                        <a:rPr lang="en-US" sz="1100" b="0" i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Nigeria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kern="1200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60106" y="2866299"/>
            <a:ext cx="4722829" cy="2262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1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Note: Sample size (N) and extrapolated # HH are only SHF (&lt; 4 ha)</a:t>
            </a:r>
          </a:p>
        </p:txBody>
      </p:sp>
    </p:spTree>
    <p:extLst>
      <p:ext uri="{BB962C8B-B14F-4D97-AF65-F5344CB8AC3E}">
        <p14:creationId xmlns:p14="http://schemas.microsoft.com/office/powerpoint/2010/main" val="92807032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4200" t="2528" b="1741"/>
          <a:stretch/>
        </p:blipFill>
        <p:spPr>
          <a:xfrm>
            <a:off x="4047067" y="749127"/>
            <a:ext cx="8010020" cy="5660139"/>
          </a:xfrm>
          <a:prstGeom prst="rect">
            <a:avLst/>
          </a:prstGeom>
        </p:spPr>
      </p:pic>
      <p:sp>
        <p:nvSpPr>
          <p:cNvPr id="8194" name="Text Box 2"/>
          <p:cNvSpPr txBox="1">
            <a:spLocks noChangeArrowheads="1"/>
          </p:cNvSpPr>
          <p:nvPr/>
        </p:nvSpPr>
        <p:spPr bwMode="auto">
          <a:xfrm>
            <a:off x="241252" y="0"/>
            <a:ext cx="10409815" cy="997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24300" rIns="0" bIns="0" anchor="ctr"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/>
            <a:r>
              <a:rPr lang="en-US" altLang="en-US" sz="2727" dirty="0">
                <a:solidFill>
                  <a:srgbClr val="000000"/>
                </a:solidFill>
              </a:rPr>
              <a:t>2x2 Segmentation (Ag. Potential – Distance to market): Ethiopia</a:t>
            </a:r>
          </a:p>
        </p:txBody>
      </p:sp>
      <p:sp>
        <p:nvSpPr>
          <p:cNvPr id="8195" name="Text Box 3"/>
          <p:cNvSpPr txBox="1">
            <a:spLocks noChangeArrowheads="1"/>
          </p:cNvSpPr>
          <p:nvPr/>
        </p:nvSpPr>
        <p:spPr bwMode="auto">
          <a:xfrm>
            <a:off x="983890" y="6546273"/>
            <a:ext cx="10371925" cy="221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1364" tIns="31909" rIns="61364" bIns="31909">
            <a:spAutoFit/>
          </a:bodyPr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  <a:tab pos="9601200" algn="l"/>
                <a:tab pos="10058400" algn="l"/>
                <a:tab pos="10515600" algn="l"/>
                <a:tab pos="10972800" algn="l"/>
                <a:tab pos="11430000" algn="l"/>
                <a:tab pos="11887200" algn="l"/>
                <a:tab pos="12344400" algn="l"/>
                <a:tab pos="12801600" algn="l"/>
                <a:tab pos="13258800" algn="l"/>
                <a:tab pos="13716000" algn="l"/>
                <a:tab pos="14173200" algn="l"/>
              </a:tabLst>
              <a:defRPr>
                <a:solidFill>
                  <a:srgbClr val="FFFFFF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>
              <a:buClrTx/>
              <a:buFontTx/>
              <a:buNone/>
            </a:pPr>
            <a:r>
              <a:rPr lang="en-US" altLang="en-US" sz="1023">
                <a:solidFill>
                  <a:srgbClr val="000000"/>
                </a:solidFill>
              </a:rPr>
              <a:t>Sources: Major Settlements – Natural Earth, 2016; Water Bodies – Digital Chart of the World, 2000; Land Suitability – FAO &amp; IIASA, 2007; Travel Time – HarvestChoice ,2015 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41252" y="1209319"/>
          <a:ext cx="5636136" cy="111224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77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10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8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4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11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29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16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28184">
                <a:tc>
                  <a:txBody>
                    <a:bodyPr/>
                    <a:lstStyle/>
                    <a:p>
                      <a:r>
                        <a:rPr lang="en-US" sz="1400" dirty="0"/>
                        <a:t>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Un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Lo-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Lo-H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Hi-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Hi-H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2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100" b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thiopia)</a:t>
                      </a:r>
                      <a:endParaRPr lang="en-US" sz="1100" b="0" i="0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  <a:endParaRPr lang="en-US" sz="1100" b="0" i="1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36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3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91</a:t>
                      </a:r>
                    </a:p>
                  </a:txBody>
                  <a:tcPr marL="45720" marR="4572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H </a:t>
                      </a:r>
                      <a:r>
                        <a:rPr lang="en-US" sz="1100" b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thiopia)</a:t>
                      </a:r>
                      <a:endParaRPr lang="en-US" sz="1100" b="0" i="0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  <a:endParaRPr lang="en-US" sz="1100" b="0" i="1" u="none" strike="noStrike" dirty="0">
                        <a:solidFill>
                          <a:schemeClr val="accent6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17,589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98,054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89,603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05,944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11,190</a:t>
                      </a:r>
                    </a:p>
                  </a:txBody>
                  <a:tcPr marL="45720" marR="4572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H</a:t>
                      </a:r>
                      <a:r>
                        <a:rPr lang="en-US" sz="1100" b="0" i="0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Ethiopia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 dirty="0">
                          <a:solidFill>
                            <a:schemeClr val="accent6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%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60106" y="2358299"/>
            <a:ext cx="4722829" cy="2262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1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Note: Sample size (N) and extrapolated # HH are only SHF (&lt; 4 ha)</a:t>
            </a:r>
          </a:p>
        </p:txBody>
      </p:sp>
    </p:spTree>
    <p:extLst>
      <p:ext uri="{BB962C8B-B14F-4D97-AF65-F5344CB8AC3E}">
        <p14:creationId xmlns:p14="http://schemas.microsoft.com/office/powerpoint/2010/main" val="315099704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7CAD2C2A-323D-440F-9F7A-FC24FB81A6F9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3862" y="654627"/>
            <a:ext cx="9942861" cy="5559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639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Express Template_Feb 14 2014.potx [Read-Only]" id="{B7219BD7-471E-4A9B-AF18-B69EDD1B78E5}" vid="{0A08D436-D1F2-4CBD-A5C4-4B00D6224E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725</TotalTime>
  <Words>320</Words>
  <Application>Microsoft Office PowerPoint</Application>
  <PresentationFormat>Widescreen</PresentationFormat>
  <Paragraphs>100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SimSun</vt:lpstr>
      <vt:lpstr>Arial</vt:lpstr>
      <vt:lpstr>Calibri</vt:lpstr>
      <vt:lpstr>Tahoma</vt:lpstr>
      <vt:lpstr>Times New Roman</vt:lpstr>
      <vt:lpstr>Wingdings</vt:lpstr>
      <vt:lpstr>Foundation Master Slides</vt:lpstr>
      <vt:lpstr>1_Foundation Master Slides</vt:lpstr>
      <vt:lpstr>think-cell Slide</vt:lpstr>
      <vt:lpstr>Tanzania: 2 x 2 Segmentation  (Ag. Potential – Distance to market)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 DEV | Seed systems</dc:title>
  <dc:creator>Clint Nohavec</dc:creator>
  <cp:lastModifiedBy>Stanley Wood</cp:lastModifiedBy>
  <cp:revision>402</cp:revision>
  <dcterms:created xsi:type="dcterms:W3CDTF">2015-11-18T19:41:01Z</dcterms:created>
  <dcterms:modified xsi:type="dcterms:W3CDTF">2017-07-06T04:06:14Z</dcterms:modified>
</cp:coreProperties>
</file>